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3"/>
  </p:notesMasterIdLst>
  <p:sldIdLst>
    <p:sldId id="369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63AA"/>
    <a:srgbClr val="1E2E55"/>
    <a:srgbClr val="1E2E53"/>
    <a:srgbClr val="1D2E53"/>
    <a:srgbClr val="DEE3EA"/>
    <a:srgbClr val="BEC6D6"/>
    <a:srgbClr val="9DAAC3"/>
    <a:srgbClr val="8090AF"/>
    <a:srgbClr val="535D71"/>
    <a:srgbClr val="F8F9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 showGuides="1">
      <p:cViewPr varScale="1">
        <p:scale>
          <a:sx n="79" d="100"/>
          <a:sy n="79" d="100"/>
        </p:scale>
        <p:origin x="773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7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0" y="1968796"/>
            <a:ext cx="12192000" cy="4889204"/>
          </a:xfrm>
          <a:custGeom>
            <a:avLst/>
            <a:gdLst>
              <a:gd name="connsiteX0" fmla="*/ 0 w 12192000"/>
              <a:gd name="connsiteY0" fmla="*/ 0 h 4663439"/>
              <a:gd name="connsiteX1" fmla="*/ 12192000 w 12192000"/>
              <a:gd name="connsiteY1" fmla="*/ 0 h 4663439"/>
              <a:gd name="connsiteX2" fmla="*/ 12192000 w 12192000"/>
              <a:gd name="connsiteY2" fmla="*/ 754872 h 4663439"/>
              <a:gd name="connsiteX3" fmla="*/ 3380194 w 12192000"/>
              <a:gd name="connsiteY3" fmla="*/ 4663439 h 4663439"/>
              <a:gd name="connsiteX4" fmla="*/ 0 w 12192000"/>
              <a:gd name="connsiteY4" fmla="*/ 4663439 h 466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663439">
                <a:moveTo>
                  <a:pt x="0" y="0"/>
                </a:moveTo>
                <a:lnTo>
                  <a:pt x="12192000" y="0"/>
                </a:lnTo>
                <a:lnTo>
                  <a:pt x="12192000" y="754872"/>
                </a:lnTo>
                <a:lnTo>
                  <a:pt x="3380194" y="4663439"/>
                </a:lnTo>
                <a:lnTo>
                  <a:pt x="0" y="4663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540" y="149063"/>
            <a:ext cx="11241093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31" y="4752576"/>
            <a:ext cx="5727599" cy="2256675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2540" y="1434736"/>
            <a:ext cx="11241093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472540" y="1343296"/>
            <a:ext cx="11241093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Google Shape;86;p1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377" y="0"/>
            <a:ext cx="12189452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9"/>
          <p:cNvSpPr txBox="1"/>
          <p:nvPr/>
        </p:nvSpPr>
        <p:spPr>
          <a:xfrm>
            <a:off x="-597439" y="6485300"/>
            <a:ext cx="121920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000" tIns="120000" rIns="121900" bIns="12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COPYRIGHT (C) </a:t>
            </a:r>
            <a: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2021</a:t>
            </a: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, ECLIPSE FOUNDATION, INC. | MADE AVAILABLE UNDER THE ECLIPSE PUBLIC LICENSE 2.0 (EPL-2.0)</a:t>
            </a: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8" name="Google Shape;88;p19"/>
          <p:cNvSpPr txBox="1">
            <a:spLocks noGrp="1"/>
          </p:cNvSpPr>
          <p:nvPr>
            <p:ph type="title"/>
          </p:nvPr>
        </p:nvSpPr>
        <p:spPr>
          <a:xfrm>
            <a:off x="411969" y="305467"/>
            <a:ext cx="9045200" cy="65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1425" bIns="900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F79422"/>
              </a:buClr>
              <a:buSzPts val="2400"/>
              <a:buFont typeface="Roboto"/>
              <a:buNone/>
              <a:defRPr sz="3200" b="1" i="0" u="none" strike="noStrike" cap="none">
                <a:solidFill>
                  <a:srgbClr val="F7942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9" name="Google Shape;89;p19"/>
          <p:cNvSpPr txBox="1">
            <a:spLocks noGrp="1"/>
          </p:cNvSpPr>
          <p:nvPr>
            <p:ph type="body" idx="1"/>
          </p:nvPr>
        </p:nvSpPr>
        <p:spPr>
          <a:xfrm>
            <a:off x="411967" y="1214400"/>
            <a:ext cx="10173200" cy="44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472428" algn="l" rtl="0">
              <a:spcBef>
                <a:spcPts val="480"/>
              </a:spcBef>
              <a:spcAft>
                <a:spcPts val="0"/>
              </a:spcAft>
              <a:buClr>
                <a:srgbClr val="F8A15A"/>
              </a:buClr>
              <a:buSzPts val="1980"/>
              <a:buFont typeface="Roboto"/>
              <a:buChar char="&gt;"/>
              <a:defRPr sz="2400" i="0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marR="0" lvl="1" indent="-431789" algn="l" rtl="0">
              <a:spcBef>
                <a:spcPts val="600"/>
              </a:spcBef>
              <a:spcAft>
                <a:spcPts val="0"/>
              </a:spcAft>
              <a:buClr>
                <a:srgbClr val="F8A15A"/>
              </a:buClr>
              <a:buSzPts val="1500"/>
              <a:buFont typeface="Roboto"/>
              <a:buChar char="•"/>
              <a:defRPr sz="20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828754" marR="0" lvl="2" indent="-4190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350"/>
              <a:buFont typeface="Roboto"/>
              <a:buChar char="•"/>
              <a:defRPr sz="18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2438339" marR="0" lvl="3" indent="-4063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200"/>
              <a:buFont typeface="Roboto"/>
              <a:buChar char="•"/>
              <a:defRPr sz="16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3047924" marR="0" lvl="4" indent="-431789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»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0" name="Google Shape;90;p19"/>
          <p:cNvSpPr txBox="1"/>
          <p:nvPr/>
        </p:nvSpPr>
        <p:spPr>
          <a:xfrm>
            <a:off x="0" y="6490000"/>
            <a:ext cx="4116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67">
                <a:solidFill>
                  <a:srgbClr val="3D3C3B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Nr.›</a:t>
            </a:fld>
            <a:endParaRPr sz="1067">
              <a:solidFill>
                <a:srgbClr val="3D3C3B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233715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COPYRIGHT © 2022, Members of the openPASS W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CAEB5-FF9F-AB6D-1192-F2B4A14C0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2EA24F-25A1-703E-75B3-7078A9C26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69" y="1035105"/>
            <a:ext cx="11367657" cy="5419483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de-DE" sz="1600" b="1" dirty="0"/>
              <a:t>Release openPASS 2.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Finalize simulation architecture based on </a:t>
            </a:r>
            <a:r>
              <a:rPr lang="en-US" sz="1600" dirty="0" err="1"/>
              <a:t>gt</a:t>
            </a:r>
            <a:r>
              <a:rPr lang="en-US" sz="1600" dirty="0"/>
              <a:t>-gen, </a:t>
            </a:r>
            <a:r>
              <a:rPr lang="en-US" sz="1600" dirty="0" err="1"/>
              <a:t>gecco</a:t>
            </a:r>
            <a:r>
              <a:rPr lang="en-US" sz="1600" dirty="0"/>
              <a:t> &amp; road-logic-sui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Complete transition from simulation tool to ecosystem</a:t>
            </a:r>
          </a:p>
          <a:p>
            <a:pPr>
              <a:buFont typeface="+mj-lt"/>
              <a:buAutoNum type="arabicPeriod"/>
            </a:pPr>
            <a:r>
              <a:rPr lang="de-DE" sz="1600" b="1" dirty="0"/>
              <a:t>GUI &amp; </a:t>
            </a:r>
            <a:r>
              <a:rPr lang="en-US" sz="1600" b="1" dirty="0"/>
              <a:t>Usability enhancement</a:t>
            </a:r>
          </a:p>
          <a:p>
            <a:pPr lvl="1"/>
            <a:r>
              <a:rPr lang="en-US" sz="1600" dirty="0"/>
              <a:t>Functional GUI to configure &amp; run experiments and for post processing </a:t>
            </a:r>
            <a:r>
              <a:rPr lang="en-US" sz="1600"/>
              <a:t>simulation results</a:t>
            </a:r>
            <a:endParaRPr lang="en-US" sz="1600" dirty="0"/>
          </a:p>
          <a:p>
            <a:pPr lvl="1"/>
            <a:r>
              <a:rPr lang="en-US" sz="1600" dirty="0"/>
              <a:t>Tool integration (sim &amp; </a:t>
            </a:r>
            <a:r>
              <a:rPr lang="en-US" sz="1600" dirty="0" err="1"/>
              <a:t>gui</a:t>
            </a:r>
            <a:r>
              <a:rPr lang="en-US" sz="1600" dirty="0"/>
              <a:t>), webpage improvements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dentify collaboration opportunities</a:t>
            </a:r>
          </a:p>
          <a:p>
            <a:pPr lvl="1"/>
            <a:r>
              <a:rPr lang="en-US" sz="1600" dirty="0"/>
              <a:t>List links to projects on website, links to ASAM &amp; other relevant open source projects</a:t>
            </a:r>
          </a:p>
          <a:p>
            <a:pPr lvl="1"/>
            <a:r>
              <a:rPr lang="en-US" sz="1600" dirty="0"/>
              <a:t>Identify new users and cooperation partners for openPASS components</a:t>
            </a:r>
          </a:p>
          <a:p>
            <a:pPr lvl="1"/>
            <a:r>
              <a:rPr lang="en-US" sz="1600" dirty="0"/>
              <a:t>Align with other Eclipse initiatives and projects (</a:t>
            </a:r>
            <a:r>
              <a:rPr lang="en-US" sz="1600" dirty="0" err="1"/>
              <a:t>openMobility</a:t>
            </a:r>
            <a:r>
              <a:rPr lang="en-US" sz="1600" dirty="0"/>
              <a:t>, SDV etc.)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mprovement of quality / cooperation model</a:t>
            </a:r>
          </a:p>
          <a:p>
            <a:pPr lvl="1"/>
            <a:r>
              <a:rPr lang="en-US" sz="1600" dirty="0"/>
              <a:t>Finalize documentation and IP clearance process of third-party dependencies</a:t>
            </a:r>
          </a:p>
          <a:p>
            <a:pPr lvl="1"/>
            <a:r>
              <a:rPr lang="en-US" sz="1600" dirty="0"/>
              <a:t>Increase responsiveness on issues, information on known build issu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89FF12-2478-C322-077C-2233A708D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OpenPASS Program Objectives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6908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48094c8-480e-400b-91c4-c984b7e20814}" enabled="1" method="Standard" siteId="{a1109567-0815-4e1f-88af-e23555482aa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116</Words>
  <Application>Microsoft Office PowerPoint</Application>
  <PresentationFormat>Breitbild</PresentationFormat>
  <Paragraphs>14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BMW Group</vt:lpstr>
      <vt:lpstr>BMW Group Condensed</vt:lpstr>
      <vt:lpstr>Helvetica Neue Light</vt:lpstr>
      <vt:lpstr>Roboto</vt:lpstr>
      <vt:lpstr>Symbol</vt:lpstr>
      <vt:lpstr>BMW Group 16:9</vt:lpstr>
      <vt:lpstr>OpenPASS Program Objectives 2026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Dobberstein, Jan (059)</cp:lastModifiedBy>
  <cp:revision>642</cp:revision>
  <dcterms:created xsi:type="dcterms:W3CDTF">2017-05-03T05:43:33Z</dcterms:created>
  <dcterms:modified xsi:type="dcterms:W3CDTF">2025-11-07T09:3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5-11-07T09:37:1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758721fd-f4c8-4826-afce-223c9c963eae</vt:lpwstr>
  </property>
  <property fmtid="{D5CDD505-2E9C-101B-9397-08002B2CF9AE}" pid="8" name="MSIP_Label_924dbb1d-991d-4bbd-aad5-33bac1d8ffaf_ContentBits">
    <vt:lpwstr>0</vt:lpwstr>
  </property>
  <property fmtid="{D5CDD505-2E9C-101B-9397-08002B2CF9AE}" pid="9" name="MSIP_Label_924dbb1d-991d-4bbd-aad5-33bac1d8ffaf_Tag">
    <vt:lpwstr>10, 3, 0, 1</vt:lpwstr>
  </property>
</Properties>
</file>